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4"/>
  </p:notesMasterIdLst>
  <p:handoutMasterIdLst>
    <p:handoutMasterId r:id="rId35"/>
  </p:handoutMasterIdLst>
  <p:sldIdLst>
    <p:sldId id="256" r:id="rId2"/>
    <p:sldId id="286" r:id="rId3"/>
    <p:sldId id="283" r:id="rId4"/>
    <p:sldId id="258" r:id="rId5"/>
    <p:sldId id="289" r:id="rId6"/>
    <p:sldId id="290" r:id="rId7"/>
    <p:sldId id="291" r:id="rId8"/>
    <p:sldId id="301" r:id="rId9"/>
    <p:sldId id="293" r:id="rId10"/>
    <p:sldId id="292" r:id="rId11"/>
    <p:sldId id="295" r:id="rId12"/>
    <p:sldId id="296" r:id="rId13"/>
    <p:sldId id="297" r:id="rId14"/>
    <p:sldId id="298" r:id="rId15"/>
    <p:sldId id="299" r:id="rId16"/>
    <p:sldId id="306" r:id="rId17"/>
    <p:sldId id="300" r:id="rId18"/>
    <p:sldId id="307" r:id="rId19"/>
    <p:sldId id="302" r:id="rId20"/>
    <p:sldId id="303" r:id="rId21"/>
    <p:sldId id="304" r:id="rId22"/>
    <p:sldId id="305" r:id="rId23"/>
    <p:sldId id="308" r:id="rId24"/>
    <p:sldId id="309" r:id="rId25"/>
    <p:sldId id="310" r:id="rId26"/>
    <p:sldId id="311" r:id="rId27"/>
    <p:sldId id="312" r:id="rId28"/>
    <p:sldId id="294" r:id="rId29"/>
    <p:sldId id="288" r:id="rId30"/>
    <p:sldId id="287" r:id="rId31"/>
    <p:sldId id="284" r:id="rId32"/>
    <p:sldId id="285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Talk 1" id="{A39BAB87-122F-4407-B1D1-4EBF3756855C}">
          <p14:sldIdLst>
            <p14:sldId id="283"/>
            <p14:sldId id="258"/>
            <p14:sldId id="289"/>
            <p14:sldId id="290"/>
            <p14:sldId id="291"/>
            <p14:sldId id="301"/>
            <p14:sldId id="293"/>
            <p14:sldId id="292"/>
            <p14:sldId id="295"/>
            <p14:sldId id="296"/>
            <p14:sldId id="297"/>
            <p14:sldId id="298"/>
            <p14:sldId id="299"/>
            <p14:sldId id="306"/>
            <p14:sldId id="300"/>
            <p14:sldId id="307"/>
            <p14:sldId id="302"/>
            <p14:sldId id="303"/>
            <p14:sldId id="304"/>
            <p14:sldId id="305"/>
            <p14:sldId id="308"/>
            <p14:sldId id="309"/>
            <p14:sldId id="310"/>
            <p14:sldId id="311"/>
            <p14:sldId id="312"/>
            <p14:sldId id="294"/>
          </p14:sldIdLst>
        </p14:section>
        <p14:section name="Talk 2" id="{96D93A17-E8EF-40A5-A513-9D3407D7C689}">
          <p14:sldIdLst>
            <p14:sldId id="288"/>
          </p14:sldIdLst>
        </p14:section>
        <p14:section name="User Group Änderungen" id="{7CCB5C54-E3C4-4115-B207-B037FB65D407}">
          <p14:sldIdLst>
            <p14:sldId id="287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D96DC6-27DA-4212-8382-67920AB94B8D}" v="454" dt="2021-08-19T17:12:53.192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85" d="100"/>
          <a:sy n="85" d="100"/>
        </p:scale>
        <p:origin x="10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9.08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9.08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7087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3256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891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01382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6.emf"/><Relationship Id="rId7" Type="http://schemas.openxmlformats.org/officeDocument/2006/relationships/image" Target="../media/image10.sv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image" Target="../media/image7.emf"/><Relationship Id="rId9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0.svg"/><Relationship Id="rId7" Type="http://schemas.openxmlformats.org/officeDocument/2006/relationships/image" Target="../media/image11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5.emf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11.emf"/><Relationship Id="rId4" Type="http://schemas.openxmlformats.org/officeDocument/2006/relationships/image" Target="../media/image5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0.svg"/><Relationship Id="rId7" Type="http://schemas.openxmlformats.org/officeDocument/2006/relationships/image" Target="../media/image15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0.svg"/><Relationship Id="rId7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0.svg"/><Relationship Id="rId7" Type="http://schemas.openxmlformats.org/officeDocument/2006/relationships/image" Target="../media/image1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emf"/><Relationship Id="rId11" Type="http://schemas.openxmlformats.org/officeDocument/2006/relationships/image" Target="../media/image21.svg"/><Relationship Id="rId5" Type="http://schemas.openxmlformats.org/officeDocument/2006/relationships/image" Target="../media/image6.emf"/><Relationship Id="rId10" Type="http://schemas.openxmlformats.org/officeDocument/2006/relationships/image" Target="../media/image20.png"/><Relationship Id="rId4" Type="http://schemas.openxmlformats.org/officeDocument/2006/relationships/image" Target="../media/image5.emf"/><Relationship Id="rId9" Type="http://schemas.openxmlformats.org/officeDocument/2006/relationships/image" Target="../media/image1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2.emf"/><Relationship Id="rId3" Type="http://schemas.openxmlformats.org/officeDocument/2006/relationships/image" Target="../media/image10.svg"/><Relationship Id="rId7" Type="http://schemas.openxmlformats.org/officeDocument/2006/relationships/image" Target="../media/image18.png"/><Relationship Id="rId12" Type="http://schemas.openxmlformats.org/officeDocument/2006/relationships/image" Target="../media/image15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emf"/><Relationship Id="rId11" Type="http://schemas.openxmlformats.org/officeDocument/2006/relationships/image" Target="../media/image21.svg"/><Relationship Id="rId5" Type="http://schemas.openxmlformats.org/officeDocument/2006/relationships/image" Target="../media/image6.emf"/><Relationship Id="rId10" Type="http://schemas.openxmlformats.org/officeDocument/2006/relationships/image" Target="../media/image20.png"/><Relationship Id="rId4" Type="http://schemas.openxmlformats.org/officeDocument/2006/relationships/image" Target="../media/image5.emf"/><Relationship Id="rId9" Type="http://schemas.openxmlformats.org/officeDocument/2006/relationships/image" Target="../media/image16.emf"/><Relationship Id="rId14" Type="http://schemas.openxmlformats.org/officeDocument/2006/relationships/image" Target="../media/image23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image" Target="../media/image10.svg"/><Relationship Id="rId7" Type="http://schemas.openxmlformats.org/officeDocument/2006/relationships/image" Target="../media/image11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5.emf"/><Relationship Id="rId9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0.svg"/><Relationship Id="rId7" Type="http://schemas.openxmlformats.org/officeDocument/2006/relationships/image" Target="../media/image11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5.emf"/><Relationship Id="rId9" Type="http://schemas.openxmlformats.org/officeDocument/2006/relationships/image" Target="../media/image21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10.svg"/><Relationship Id="rId7" Type="http://schemas.openxmlformats.org/officeDocument/2006/relationships/image" Target="../media/image28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IANAPorts" TargetMode="External"/><Relationship Id="rId2" Type="http://schemas.openxmlformats.org/officeDocument/2006/relationships/hyperlink" Target="https://www.granikos.eu/en/justcantgetenough/PostId/250/exchange-2016-mail-flow-with-ports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ocs.microsoft.com/microsoft-365/enterprise/hybrid-modern-auth-overview?view=o365-worldwide&amp;WT.mc_id=M365-MVP-500308" TargetMode="External"/><Relationship Id="rId4" Type="http://schemas.openxmlformats.org/officeDocument/2006/relationships/hyperlink" Target="https://docs.microsoft.com/azure/active-directory/app-proxy/application-proxy?WT.mc_id=M365-MVP-5003086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CommunitySticker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mailto:thomas.stensitzki@granikos.eu" TargetMode="External"/><Relationship Id="rId7" Type="http://schemas.openxmlformats.org/officeDocument/2006/relationships/hyperlink" Target="https://go.granikos.eu/Exchange2019Buch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m365businessbuch.de/" TargetMode="Externa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ranikos.eu/en/justcantgetenough/PostId/250/exchange-2016-mail-flow-with-port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o.granikos.eu/IANAPorts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emf"/><Relationship Id="rId7" Type="http://schemas.openxmlformats.org/officeDocument/2006/relationships/image" Target="../media/image10.sv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9. August 2021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irekter Zugriff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8168DF-E2C1-4425-92E6-722D97A426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9155" y="1442693"/>
            <a:ext cx="663367" cy="63817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9C3CE9D3-8B60-47BB-B86E-4B0E5606B1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6359" y="1352258"/>
            <a:ext cx="685800" cy="790575"/>
          </a:xfrm>
          <a:prstGeom prst="rect">
            <a:avLst/>
          </a:prstGeom>
        </p:spPr>
      </p:pic>
      <p:pic>
        <p:nvPicPr>
          <p:cNvPr id="25" name="Grafik 24" descr="Cloud mit einfarbiger Füllung">
            <a:extLst>
              <a:ext uri="{FF2B5EF4-FFF2-40B4-BE49-F238E27FC236}">
                <a16:creationId xmlns:a16="http://schemas.microsoft.com/office/drawing/2014/main" id="{18792431-B02B-4BD5-82BB-4AF65D25D9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52D2E39B-D071-464C-9905-BCAB2EB20488}"/>
              </a:ext>
            </a:extLst>
          </p:cNvPr>
          <p:cNvCxnSpPr/>
          <p:nvPr/>
        </p:nvCxnSpPr>
        <p:spPr>
          <a:xfrm>
            <a:off x="5142159" y="1747546"/>
            <a:ext cx="807085" cy="3173078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70C9265C-16D5-4F43-8DC2-2401DE1C6058}"/>
              </a:ext>
            </a:extLst>
          </p:cNvPr>
          <p:cNvCxnSpPr/>
          <p:nvPr/>
        </p:nvCxnSpPr>
        <p:spPr>
          <a:xfrm rot="10800000" flipV="1">
            <a:off x="6231467" y="1761780"/>
            <a:ext cx="747688" cy="3158843"/>
          </a:xfrm>
          <a:prstGeom prst="bentConnector2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0" name="Grafik 29" descr="Verbotsschild mit einfarbiger Füllung">
            <a:extLst>
              <a:ext uri="{FF2B5EF4-FFF2-40B4-BE49-F238E27FC236}">
                <a16:creationId xmlns:a16="http://schemas.microsoft.com/office/drawing/2014/main" id="{AB3DE7D1-69D9-478B-9E43-4072C63868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3155" y="294340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415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irekter Zugriff durch ein Perimeter-Netzwe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8168DF-E2C1-4425-92E6-722D97A42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9155" y="1442693"/>
            <a:ext cx="663367" cy="638176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85122450-227A-47B7-9509-0E5B5F419191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4747712" y="1757051"/>
            <a:ext cx="1201532" cy="3163573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EB2EEE35-F94F-4773-8963-9E72ED0A87EB}"/>
              </a:ext>
            </a:extLst>
          </p:cNvPr>
          <p:cNvCxnSpPr>
            <a:stCxn id="20" idx="1"/>
          </p:cNvCxnSpPr>
          <p:nvPr/>
        </p:nvCxnSpPr>
        <p:spPr>
          <a:xfrm rot="10800000" flipV="1">
            <a:off x="6231467" y="1761780"/>
            <a:ext cx="747688" cy="3158843"/>
          </a:xfrm>
          <a:prstGeom prst="bentConnector2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pic>
        <p:nvPicPr>
          <p:cNvPr id="23" name="Grafik 22" descr="Verbotsschild mit einfarbiger Füllung">
            <a:extLst>
              <a:ext uri="{FF2B5EF4-FFF2-40B4-BE49-F238E27FC236}">
                <a16:creationId xmlns:a16="http://schemas.microsoft.com/office/drawing/2014/main" id="{A678CF66-08A5-432A-9938-919C8922A3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43498" y="163917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50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nternet-Firewall als MTA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9C3CE9D3-8B60-47BB-B86E-4B0E5606B1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614A554-1B84-4F4F-8CBE-DA3987E343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1354" y="2445197"/>
            <a:ext cx="394826" cy="319106"/>
          </a:xfrm>
          <a:prstGeom prst="rect">
            <a:avLst/>
          </a:prstGeom>
        </p:spPr>
      </p:pic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33E64BC9-1BC6-4EA5-8321-FD3DC07AF6A1}"/>
              </a:ext>
            </a:extLst>
          </p:cNvPr>
          <p:cNvCxnSpPr>
            <a:stCxn id="22" idx="3"/>
            <a:endCxn id="5" idx="0"/>
          </p:cNvCxnSpPr>
          <p:nvPr/>
        </p:nvCxnSpPr>
        <p:spPr>
          <a:xfrm>
            <a:off x="4747712" y="1757051"/>
            <a:ext cx="971055" cy="688146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8F451CAE-4BF8-48DA-A85A-CDD6DBEA63CF}"/>
              </a:ext>
            </a:extLst>
          </p:cNvPr>
          <p:cNvCxnSpPr>
            <a:cxnSpLocks/>
          </p:cNvCxnSpPr>
          <p:nvPr/>
        </p:nvCxnSpPr>
        <p:spPr>
          <a:xfrm>
            <a:off x="5916180" y="3160328"/>
            <a:ext cx="0" cy="1760295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EDB3867C-E200-446A-B9E9-14C9A8C9A27F}"/>
              </a:ext>
            </a:extLst>
          </p:cNvPr>
          <p:cNvSpPr/>
          <p:nvPr/>
        </p:nvSpPr>
        <p:spPr>
          <a:xfrm>
            <a:off x="2597331" y="2267550"/>
            <a:ext cx="2883558" cy="447716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nti-Spam / Anti-Malware</a:t>
            </a:r>
          </a:p>
        </p:txBody>
      </p:sp>
    </p:spTree>
    <p:extLst>
      <p:ext uri="{BB962C8B-B14F-4D97-AF65-F5344CB8AC3E}">
        <p14:creationId xmlns:p14="http://schemas.microsoft.com/office/powerpoint/2010/main" val="2758494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Edge Transport Rolle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61AB7456-4D3F-483D-B5DB-904E82EB8ACE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4747712" y="1757051"/>
            <a:ext cx="155783" cy="1927300"/>
          </a:xfrm>
          <a:prstGeom prst="bentConnector3">
            <a:avLst>
              <a:gd name="adj1" fmla="val 772388"/>
            </a:avLst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83BCCCB0-069D-4308-9B27-D449ADCFC489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28555" y="3888643"/>
            <a:ext cx="1056574" cy="1007385"/>
          </a:xfrm>
          <a:prstGeom prst="bentConnector3">
            <a:avLst>
              <a:gd name="adj1" fmla="val 270"/>
            </a:avLst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4A0BBDFF-6BBD-4022-B3B4-E6F73C71BD32}"/>
              </a:ext>
            </a:extLst>
          </p:cNvPr>
          <p:cNvSpPr/>
          <p:nvPr/>
        </p:nvSpPr>
        <p:spPr>
          <a:xfrm>
            <a:off x="1589307" y="2873822"/>
            <a:ext cx="3314188" cy="573011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nti-Spam / Anti-Malware mit entsprechender Softwar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41D6E04-76D2-480E-B650-F343EDE9A848}"/>
              </a:ext>
            </a:extLst>
          </p:cNvPr>
          <p:cNvGrpSpPr/>
          <p:nvPr/>
        </p:nvGrpSpPr>
        <p:grpSpPr>
          <a:xfrm>
            <a:off x="3818254" y="3430725"/>
            <a:ext cx="1085241" cy="762000"/>
            <a:chOff x="3818254" y="3430725"/>
            <a:chExt cx="1085241" cy="762000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FF2A6880-FB00-4D85-8FB7-DC904A2DA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22445" y="3430725"/>
              <a:ext cx="781050" cy="762000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62D38E7-0EBD-46EE-A35B-CFF77C75D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18254" y="3704633"/>
              <a:ext cx="509074" cy="4477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4099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okale Software- / Hardwarelösung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61AB7456-4D3F-483D-B5DB-904E82EB8ACE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4747712" y="1757051"/>
            <a:ext cx="155783" cy="1927300"/>
          </a:xfrm>
          <a:prstGeom prst="bentConnector3">
            <a:avLst>
              <a:gd name="adj1" fmla="val 772388"/>
            </a:avLst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83BCCCB0-069D-4308-9B27-D449ADCFC489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28555" y="3888643"/>
            <a:ext cx="1056574" cy="1007385"/>
          </a:xfrm>
          <a:prstGeom prst="bentConnector3">
            <a:avLst>
              <a:gd name="adj1" fmla="val 270"/>
            </a:avLst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D996FE7A-625D-4659-8365-732A28604BFF}"/>
              </a:ext>
            </a:extLst>
          </p:cNvPr>
          <p:cNvGrpSpPr/>
          <p:nvPr/>
        </p:nvGrpSpPr>
        <p:grpSpPr>
          <a:xfrm>
            <a:off x="4097455" y="3437419"/>
            <a:ext cx="806040" cy="762000"/>
            <a:chOff x="4097455" y="3437419"/>
            <a:chExt cx="806040" cy="762000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DA8633F-832A-46E7-BEB8-D5D688D7B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465345" y="3437419"/>
              <a:ext cx="438150" cy="762000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5E4A36F9-F4FF-4E08-82B6-0F60B2B5A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97455" y="3625138"/>
              <a:ext cx="509074" cy="44774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4A0BBDFF-6BBD-4022-B3B4-E6F73C71BD32}"/>
              </a:ext>
            </a:extLst>
          </p:cNvPr>
          <p:cNvSpPr/>
          <p:nvPr/>
        </p:nvSpPr>
        <p:spPr>
          <a:xfrm>
            <a:off x="1589307" y="2873822"/>
            <a:ext cx="3314188" cy="573011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nti-Spam / Anti-Malware</a:t>
            </a:r>
          </a:p>
        </p:txBody>
      </p:sp>
    </p:spTree>
    <p:extLst>
      <p:ext uri="{BB962C8B-B14F-4D97-AF65-F5344CB8AC3E}">
        <p14:creationId xmlns:p14="http://schemas.microsoft.com/office/powerpoint/2010/main" val="138415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loud-basierte Anti-Spam/Anti-Malware Lösung 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85122450-227A-47B7-9509-0E5B5F419191}"/>
              </a:ext>
            </a:extLst>
          </p:cNvPr>
          <p:cNvCxnSpPr>
            <a:cxnSpLocks/>
          </p:cNvCxnSpPr>
          <p:nvPr/>
        </p:nvCxnSpPr>
        <p:spPr>
          <a:xfrm>
            <a:off x="4759003" y="1757050"/>
            <a:ext cx="1201532" cy="3163573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034" y="1442693"/>
            <a:ext cx="685800" cy="790575"/>
          </a:xfrm>
          <a:prstGeom prst="rect">
            <a:avLst/>
          </a:prstGeom>
        </p:spPr>
      </p:pic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385FF603-F04E-43B8-B232-BAFC45BCF1D7}"/>
              </a:ext>
            </a:extLst>
          </p:cNvPr>
          <p:cNvCxnSpPr>
            <a:cxnSpLocks/>
          </p:cNvCxnSpPr>
          <p:nvPr/>
        </p:nvCxnSpPr>
        <p:spPr>
          <a:xfrm flipV="1">
            <a:off x="2264402" y="1757050"/>
            <a:ext cx="1169776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E7C241C-E46D-4A07-AB7D-3466765DAA3C}"/>
              </a:ext>
            </a:extLst>
          </p:cNvPr>
          <p:cNvGrpSpPr/>
          <p:nvPr/>
        </p:nvGrpSpPr>
        <p:grpSpPr>
          <a:xfrm>
            <a:off x="3534498" y="1019064"/>
            <a:ext cx="1321069" cy="1321069"/>
            <a:chOff x="3534498" y="1019064"/>
            <a:chExt cx="1321069" cy="1321069"/>
          </a:xfrm>
        </p:grpSpPr>
        <p:pic>
          <p:nvPicPr>
            <p:cNvPr id="16" name="Grafik 15" descr="Cloud mit einfarbiger Füllung">
              <a:extLst>
                <a:ext uri="{FF2B5EF4-FFF2-40B4-BE49-F238E27FC236}">
                  <a16:creationId xmlns:a16="http://schemas.microsoft.com/office/drawing/2014/main" id="{A37EF680-B335-47D7-9623-36CC81575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534498" y="1019064"/>
              <a:ext cx="1321069" cy="1321069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BC356EA-EFE5-4F59-B6B7-27CE5951C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78998" y="1557134"/>
              <a:ext cx="509074" cy="447740"/>
            </a:xfrm>
            <a:prstGeom prst="rect">
              <a:avLst/>
            </a:prstGeom>
          </p:spPr>
        </p:pic>
      </p:grp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68E2C85D-6599-43FC-BEBA-26199AF1B1DA}"/>
              </a:ext>
            </a:extLst>
          </p:cNvPr>
          <p:cNvSpPr/>
          <p:nvPr/>
        </p:nvSpPr>
        <p:spPr>
          <a:xfrm>
            <a:off x="1853934" y="2218319"/>
            <a:ext cx="3883213" cy="99765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/>
              <a:t>Exchange Online </a:t>
            </a:r>
            <a:r>
              <a:rPr lang="de-DE" dirty="0" err="1"/>
              <a:t>Protection</a:t>
            </a:r>
            <a:br>
              <a:rPr lang="de-DE" dirty="0"/>
            </a:br>
            <a:r>
              <a:rPr lang="de-DE" dirty="0"/>
              <a:t>oder anderer Anbieter</a:t>
            </a:r>
          </a:p>
          <a:p>
            <a:r>
              <a:rPr lang="de-DE" dirty="0">
                <a:sym typeface="Wingdings" panose="05000000000000000000" pitchFamily="2" charset="2"/>
              </a:rPr>
              <a:t> Filterung der Remote-IP-Adressen</a:t>
            </a:r>
            <a:endParaRPr lang="de-DE" dirty="0"/>
          </a:p>
        </p:txBody>
      </p:sp>
      <p:pic>
        <p:nvPicPr>
          <p:cNvPr id="8" name="Grafik 7" descr="Filter mit einfarbiger Füllung">
            <a:extLst>
              <a:ext uri="{FF2B5EF4-FFF2-40B4-BE49-F238E27FC236}">
                <a16:creationId xmlns:a16="http://schemas.microsoft.com/office/drawing/2014/main" id="{DE2C541E-23A1-44CE-B4E8-972BCE0469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44256" y="2192183"/>
            <a:ext cx="655991" cy="6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92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loud-basierte Anti-Spam/Anti-Malware Lösung + Exchange Online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85122450-227A-47B7-9509-0E5B5F419191}"/>
              </a:ext>
            </a:extLst>
          </p:cNvPr>
          <p:cNvCxnSpPr>
            <a:cxnSpLocks/>
          </p:cNvCxnSpPr>
          <p:nvPr/>
        </p:nvCxnSpPr>
        <p:spPr>
          <a:xfrm>
            <a:off x="4759003" y="1757050"/>
            <a:ext cx="1201532" cy="3163573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034" y="1442693"/>
            <a:ext cx="685800" cy="790575"/>
          </a:xfrm>
          <a:prstGeom prst="rect">
            <a:avLst/>
          </a:prstGeom>
        </p:spPr>
      </p:pic>
      <p:pic>
        <p:nvPicPr>
          <p:cNvPr id="16" name="Grafik 15" descr="Cloud mit einfarbiger Füllung">
            <a:extLst>
              <a:ext uri="{FF2B5EF4-FFF2-40B4-BE49-F238E27FC236}">
                <a16:creationId xmlns:a16="http://schemas.microsoft.com/office/drawing/2014/main" id="{A37EF680-B335-47D7-9623-36CC815759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34498" y="1019064"/>
            <a:ext cx="1321069" cy="1321069"/>
          </a:xfrm>
          <a:prstGeom prst="rect">
            <a:avLst/>
          </a:prstGeom>
        </p:spPr>
      </p:pic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385FF603-F04E-43B8-B232-BAFC45BCF1D7}"/>
              </a:ext>
            </a:extLst>
          </p:cNvPr>
          <p:cNvCxnSpPr>
            <a:cxnSpLocks/>
          </p:cNvCxnSpPr>
          <p:nvPr/>
        </p:nvCxnSpPr>
        <p:spPr>
          <a:xfrm flipV="1">
            <a:off x="2264402" y="1757050"/>
            <a:ext cx="1169776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4BC356EA-EFE5-4F59-B6B7-27CE5951C2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78998" y="1557134"/>
            <a:ext cx="509074" cy="447740"/>
          </a:xfrm>
          <a:prstGeom prst="rect">
            <a:avLst/>
          </a:prstGeom>
        </p:spPr>
      </p:pic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68E2C85D-6599-43FC-BEBA-26199AF1B1DA}"/>
              </a:ext>
            </a:extLst>
          </p:cNvPr>
          <p:cNvSpPr/>
          <p:nvPr/>
        </p:nvSpPr>
        <p:spPr>
          <a:xfrm>
            <a:off x="1853934" y="2218319"/>
            <a:ext cx="3883213" cy="99765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/>
              <a:t>Cloud-basierte Lösung</a:t>
            </a:r>
          </a:p>
          <a:p>
            <a:r>
              <a:rPr lang="de-DE" dirty="0">
                <a:sym typeface="Wingdings" panose="05000000000000000000" pitchFamily="2" charset="2"/>
              </a:rPr>
              <a:t> Filterung der Remote-IP-Adressen</a:t>
            </a:r>
            <a:endParaRPr lang="de-DE" dirty="0"/>
          </a:p>
        </p:txBody>
      </p:sp>
      <p:pic>
        <p:nvPicPr>
          <p:cNvPr id="8" name="Grafik 7" descr="Filter mit einfarbiger Füllung">
            <a:extLst>
              <a:ext uri="{FF2B5EF4-FFF2-40B4-BE49-F238E27FC236}">
                <a16:creationId xmlns:a16="http://schemas.microsoft.com/office/drawing/2014/main" id="{DE2C541E-23A1-44CE-B4E8-972BCE0469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44256" y="2192183"/>
            <a:ext cx="655991" cy="655991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25EA656-2C43-4042-A921-E4636AAA159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76791" y="3400601"/>
            <a:ext cx="781050" cy="762000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22EBB72E-81E1-463A-AA2B-6E7E651B794E}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9167316" y="2218319"/>
            <a:ext cx="0" cy="1182282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5" name="Grafik 24" descr="Filter mit einfarbiger Füllung">
            <a:extLst>
              <a:ext uri="{FF2B5EF4-FFF2-40B4-BE49-F238E27FC236}">
                <a16:creationId xmlns:a16="http://schemas.microsoft.com/office/drawing/2014/main" id="{425E774C-459C-4752-86EC-DA82FD8257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39320" y="2570147"/>
            <a:ext cx="655991" cy="655991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E8E25745-7694-419A-A408-A500E94EB567}"/>
              </a:ext>
            </a:extLst>
          </p:cNvPr>
          <p:cNvCxnSpPr>
            <a:cxnSpLocks/>
            <a:endCxn id="23" idx="2"/>
          </p:cNvCxnSpPr>
          <p:nvPr/>
        </p:nvCxnSpPr>
        <p:spPr>
          <a:xfrm flipV="1">
            <a:off x="6522683" y="4162601"/>
            <a:ext cx="2644633" cy="1139024"/>
          </a:xfrm>
          <a:prstGeom prst="bentConnector2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85CFD54D-E144-445A-A898-AF4B7AE69F58}"/>
              </a:ext>
            </a:extLst>
          </p:cNvPr>
          <p:cNvSpPr/>
          <p:nvPr/>
        </p:nvSpPr>
        <p:spPr>
          <a:xfrm>
            <a:off x="9643462" y="2255704"/>
            <a:ext cx="2534828" cy="153447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/>
              <a:t>Zentralisierter Mail-Flow 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Filterung der Remote-IP-Adressen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9CE32AE-31BF-4B2F-88E5-9A8D4E606F2B}"/>
              </a:ext>
            </a:extLst>
          </p:cNvPr>
          <p:cNvGrpSpPr/>
          <p:nvPr/>
        </p:nvGrpSpPr>
        <p:grpSpPr>
          <a:xfrm>
            <a:off x="8384157" y="1362264"/>
            <a:ext cx="1300789" cy="835075"/>
            <a:chOff x="8384157" y="1362264"/>
            <a:chExt cx="1300789" cy="835075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32D39D4A-C549-46F6-81CD-8FDDF774F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384157" y="1362264"/>
              <a:ext cx="1300789" cy="835075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CDC3899-F8AD-4774-A6BA-FD634E07B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865604" y="1706350"/>
              <a:ext cx="390525" cy="3524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101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83E72D-6B05-443F-89A3-75655896D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oud-Anbieter für Mail-Filt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56846A-016A-41DB-B7E5-DCE0DFC3ED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Online </a:t>
            </a:r>
            <a:r>
              <a:rPr lang="de-DE" dirty="0" err="1"/>
              <a:t>Protection</a:t>
            </a:r>
            <a:endParaRPr lang="de-DE" dirty="0"/>
          </a:p>
          <a:p>
            <a:r>
              <a:rPr lang="de-DE" dirty="0" err="1"/>
              <a:t>Gemakom</a:t>
            </a:r>
            <a:endParaRPr lang="de-DE" dirty="0"/>
          </a:p>
          <a:p>
            <a:r>
              <a:rPr lang="de-DE" dirty="0" err="1"/>
              <a:t>Mimecast</a:t>
            </a:r>
            <a:r>
              <a:rPr lang="de-DE" dirty="0"/>
              <a:t> </a:t>
            </a:r>
          </a:p>
          <a:p>
            <a:r>
              <a:rPr lang="de-DE" dirty="0"/>
              <a:t>NoSpamProxy</a:t>
            </a:r>
          </a:p>
          <a:p>
            <a:r>
              <a:rPr lang="de-DE" dirty="0"/>
              <a:t>ProofPoint</a:t>
            </a:r>
          </a:p>
          <a:p>
            <a:r>
              <a:rPr lang="de-DE" dirty="0" err="1"/>
              <a:t>SecuMail</a:t>
            </a:r>
            <a:endParaRPr lang="de-DE" dirty="0"/>
          </a:p>
          <a:p>
            <a:r>
              <a:rPr lang="de-DE" dirty="0"/>
              <a:t>Sophos </a:t>
            </a:r>
          </a:p>
          <a:p>
            <a:r>
              <a:rPr lang="de-DE" dirty="0" err="1"/>
              <a:t>SpamTitan</a:t>
            </a:r>
            <a:endParaRPr lang="de-DE" dirty="0"/>
          </a:p>
          <a:p>
            <a:r>
              <a:rPr lang="de-DE" dirty="0"/>
              <a:t>…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A954E92-F888-4E8E-9F0F-9032D2E2C5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9685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MT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elche Implementierung nutzt ihr?</a:t>
            </a:r>
          </a:p>
        </p:txBody>
      </p:sp>
      <p:pic>
        <p:nvPicPr>
          <p:cNvPr id="7" name="Grafik 6" descr="Fragen mit einfarbiger Füllung">
            <a:extLst>
              <a:ext uri="{FF2B5EF4-FFF2-40B4-BE49-F238E27FC236}">
                <a16:creationId xmlns:a16="http://schemas.microsoft.com/office/drawing/2014/main" id="{1F2F1CCA-AAE3-4AB7-900C-AA5031FE15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5955" y="1478315"/>
            <a:ext cx="2444044" cy="244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721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TTP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xchange Server Protokolle</a:t>
            </a:r>
          </a:p>
        </p:txBody>
      </p:sp>
    </p:spTree>
    <p:extLst>
      <p:ext uri="{BB962C8B-B14F-4D97-AF65-F5344CB8AC3E}">
        <p14:creationId xmlns:p14="http://schemas.microsoft.com/office/powerpoint/2010/main" val="445697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3 202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alk 1 – Exchange Server – Komponenten für den sicheren Zugriff</a:t>
            </a:r>
            <a:br>
              <a:rPr lang="de-DE" dirty="0"/>
            </a:b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Thomas Stensitzki</a:t>
            </a:r>
            <a:br>
              <a:rPr lang="de-DE" dirty="0"/>
            </a:br>
            <a:endParaRPr lang="de-DE" dirty="0"/>
          </a:p>
          <a:p>
            <a:r>
              <a:rPr lang="de-DE" dirty="0"/>
              <a:t>Talk 2 - </a:t>
            </a:r>
            <a:r>
              <a:rPr lang="en-US" dirty="0"/>
              <a:t>Hunting Basic Authentication in Exchange Onlin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ndres </a:t>
            </a:r>
            <a:r>
              <a:rPr lang="en-US" dirty="0" err="1"/>
              <a:t>Bohren</a:t>
            </a:r>
            <a:r>
              <a:rPr lang="en-US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499" y="5636316"/>
            <a:ext cx="9639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Reverse Proxy im Perimeter-Netzwe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8168DF-E2C1-4425-92E6-722D97A42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9155" y="1442693"/>
            <a:ext cx="663367" cy="638176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EB2EEE35-F94F-4773-8963-9E72ED0A87EB}"/>
              </a:ext>
            </a:extLst>
          </p:cNvPr>
          <p:cNvCxnSpPr>
            <a:cxnSpLocks/>
            <a:stCxn id="20" idx="1"/>
            <a:endCxn id="5" idx="0"/>
          </p:cNvCxnSpPr>
          <p:nvPr/>
        </p:nvCxnSpPr>
        <p:spPr>
          <a:xfrm rot="10800000" flipV="1">
            <a:off x="6057901" y="1761781"/>
            <a:ext cx="921255" cy="1479276"/>
          </a:xfrm>
          <a:prstGeom prst="bentConnector2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45DC66E-59A5-413E-8CD2-3DD8932CCE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8337" y="3241057"/>
            <a:ext cx="619125" cy="762000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C60435B-AE29-4678-8C65-0DF50E2C9270}"/>
              </a:ext>
            </a:extLst>
          </p:cNvPr>
          <p:cNvCxnSpPr>
            <a:cxnSpLocks/>
          </p:cNvCxnSpPr>
          <p:nvPr/>
        </p:nvCxnSpPr>
        <p:spPr>
          <a:xfrm>
            <a:off x="6057899" y="4001429"/>
            <a:ext cx="0" cy="890838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BDF5EDED-61F0-49A8-AE48-2657056A7E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47712" y="4892267"/>
            <a:ext cx="438150" cy="762000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6EDC8B4-7A4E-4DC0-958B-AAC6E3984A90}"/>
              </a:ext>
            </a:extLst>
          </p:cNvPr>
          <p:cNvCxnSpPr>
            <a:cxnSpLocks/>
            <a:endCxn id="22" idx="0"/>
          </p:cNvCxnSpPr>
          <p:nvPr/>
        </p:nvCxnSpPr>
        <p:spPr>
          <a:xfrm flipH="1">
            <a:off x="4966787" y="4001429"/>
            <a:ext cx="1091114" cy="890838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BAFDAD7-F2E7-4FF0-8945-EE00FE30CE81}"/>
              </a:ext>
            </a:extLst>
          </p:cNvPr>
          <p:cNvSpPr/>
          <p:nvPr/>
        </p:nvSpPr>
        <p:spPr>
          <a:xfrm>
            <a:off x="6518528" y="3141749"/>
            <a:ext cx="3883213" cy="99765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/>
              <a:t>Windows </a:t>
            </a:r>
            <a:r>
              <a:rPr lang="de-DE" dirty="0" err="1"/>
              <a:t>Application</a:t>
            </a:r>
            <a:r>
              <a:rPr lang="de-DE" dirty="0"/>
              <a:t> Proxy</a:t>
            </a:r>
          </a:p>
          <a:p>
            <a:r>
              <a:rPr lang="de-DE" dirty="0"/>
              <a:t>Reverse Proxy für Exchange und andere Web-Applikationen</a:t>
            </a:r>
          </a:p>
        </p:txBody>
      </p:sp>
    </p:spTree>
    <p:extLst>
      <p:ext uri="{BB962C8B-B14F-4D97-AF65-F5344CB8AC3E}">
        <p14:creationId xmlns:p14="http://schemas.microsoft.com/office/powerpoint/2010/main" val="144780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irekter Zugriff durch ein Perimeter-Netzwe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8168DF-E2C1-4425-92E6-722D97A42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9155" y="1442693"/>
            <a:ext cx="663367" cy="638176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EB2EEE35-F94F-4773-8963-9E72ED0A87EB}"/>
              </a:ext>
            </a:extLst>
          </p:cNvPr>
          <p:cNvCxnSpPr>
            <a:cxnSpLocks/>
            <a:stCxn id="20" idx="1"/>
            <a:endCxn id="12" idx="0"/>
          </p:cNvCxnSpPr>
          <p:nvPr/>
        </p:nvCxnSpPr>
        <p:spPr>
          <a:xfrm rot="10800000" flipV="1">
            <a:off x="6089297" y="1761781"/>
            <a:ext cx="889859" cy="760372"/>
          </a:xfrm>
          <a:prstGeom prst="bentConnector2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EB8E2D90-A86A-4119-AFF8-81A297DA99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C60435B-AE29-4678-8C65-0DF50E2C9270}"/>
              </a:ext>
            </a:extLst>
          </p:cNvPr>
          <p:cNvCxnSpPr>
            <a:cxnSpLocks/>
          </p:cNvCxnSpPr>
          <p:nvPr/>
        </p:nvCxnSpPr>
        <p:spPr>
          <a:xfrm>
            <a:off x="6057899" y="3160328"/>
            <a:ext cx="0" cy="1731939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BAFDAD7-F2E7-4FF0-8945-EE00FE30CE81}"/>
              </a:ext>
            </a:extLst>
          </p:cNvPr>
          <p:cNvSpPr/>
          <p:nvPr/>
        </p:nvSpPr>
        <p:spPr>
          <a:xfrm>
            <a:off x="6743157" y="2355814"/>
            <a:ext cx="3883213" cy="41991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/>
              <a:t>HTTPS-Filterung in der Firewall</a:t>
            </a:r>
          </a:p>
        </p:txBody>
      </p:sp>
      <p:pic>
        <p:nvPicPr>
          <p:cNvPr id="18" name="Grafik 17" descr="Filter mit einfarbiger Füllung">
            <a:extLst>
              <a:ext uri="{FF2B5EF4-FFF2-40B4-BE49-F238E27FC236}">
                <a16:creationId xmlns:a16="http://schemas.microsoft.com/office/drawing/2014/main" id="{8BF51380-89AC-4CD5-9F6B-7FF6A748B8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52972" y="2744536"/>
            <a:ext cx="655991" cy="655991"/>
          </a:xfrm>
          <a:prstGeom prst="rect">
            <a:avLst/>
          </a:prstGeom>
        </p:spPr>
      </p:pic>
      <p:pic>
        <p:nvPicPr>
          <p:cNvPr id="19" name="Grafik 18" descr="Filter mit einfarbiger Füllung">
            <a:extLst>
              <a:ext uri="{FF2B5EF4-FFF2-40B4-BE49-F238E27FC236}">
                <a16:creationId xmlns:a16="http://schemas.microsoft.com/office/drawing/2014/main" id="{027B626A-47DB-4EAC-BC88-CD607E42AB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13636" y="4424016"/>
            <a:ext cx="655991" cy="6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5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WA Zugriff mit Azure AD </a:t>
            </a:r>
            <a:r>
              <a:rPr lang="de-DE" dirty="0" err="1"/>
              <a:t>Application</a:t>
            </a:r>
            <a:r>
              <a:rPr lang="de-DE" dirty="0"/>
              <a:t> Proxy 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3" name="Grafik 12" descr="Cloud mit einfarbiger Füllung">
            <a:extLst>
              <a:ext uri="{FF2B5EF4-FFF2-40B4-BE49-F238E27FC236}">
                <a16:creationId xmlns:a16="http://schemas.microsoft.com/office/drawing/2014/main" id="{5EDE41AD-1944-4C3B-A746-6121D1457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8168DF-E2C1-4425-92E6-722D97A42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6722" y="1582040"/>
            <a:ext cx="663367" cy="638176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DDFDD46-1C45-48F7-9664-16F78EEB66D0}"/>
              </a:ext>
            </a:extLst>
          </p:cNvPr>
          <p:cNvSpPr/>
          <p:nvPr/>
        </p:nvSpPr>
        <p:spPr>
          <a:xfrm>
            <a:off x="1552221" y="283047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Perimeter-Netzwerk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30D18CE-298C-4E91-B67C-599625A42C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1633" y="2522153"/>
            <a:ext cx="695325" cy="638175"/>
          </a:xfrm>
          <a:prstGeom prst="rect">
            <a:avLst/>
          </a:prstGeom>
        </p:spPr>
      </p:pic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EB2EEE35-F94F-4773-8963-9E72ED0A87EB}"/>
              </a:ext>
            </a:extLst>
          </p:cNvPr>
          <p:cNvCxnSpPr>
            <a:cxnSpLocks/>
            <a:stCxn id="20" idx="1"/>
            <a:endCxn id="18" idx="3"/>
          </p:cNvCxnSpPr>
          <p:nvPr/>
        </p:nvCxnSpPr>
        <p:spPr>
          <a:xfrm rot="10800000">
            <a:off x="4712838" y="1896346"/>
            <a:ext cx="2263885" cy="4782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3C60435B-AE29-4678-8C65-0DF50E2C9270}"/>
              </a:ext>
            </a:extLst>
          </p:cNvPr>
          <p:cNvCxnSpPr>
            <a:cxnSpLocks/>
            <a:stCxn id="5" idx="0"/>
            <a:endCxn id="18" idx="2"/>
          </p:cNvCxnSpPr>
          <p:nvPr/>
        </p:nvCxnSpPr>
        <p:spPr>
          <a:xfrm flipV="1">
            <a:off x="4479474" y="2096371"/>
            <a:ext cx="1" cy="2899377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8739203-6752-415B-8CC7-4871CE9A0C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487" y="4995748"/>
            <a:ext cx="435974" cy="33186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57FCC296-27F8-461A-9923-58A0FEDB9A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6112" y="1696321"/>
            <a:ext cx="466725" cy="400050"/>
          </a:xfrm>
          <a:prstGeom prst="rect">
            <a:avLst/>
          </a:prstGeom>
        </p:spPr>
      </p:pic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C56EAEF4-CCC7-48B4-8199-F5C05CDC696C}"/>
              </a:ext>
            </a:extLst>
          </p:cNvPr>
          <p:cNvCxnSpPr>
            <a:cxnSpLocks/>
          </p:cNvCxnSpPr>
          <p:nvPr/>
        </p:nvCxnSpPr>
        <p:spPr>
          <a:xfrm flipV="1">
            <a:off x="4603752" y="2096370"/>
            <a:ext cx="1" cy="2899377"/>
          </a:xfrm>
          <a:prstGeom prst="straightConnector1">
            <a:avLst/>
          </a:prstGeom>
          <a:ln w="38100">
            <a:solidFill>
              <a:srgbClr val="00B0F0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55F30A-D497-4E1A-98A8-1027D4BCABD9}"/>
              </a:ext>
            </a:extLst>
          </p:cNvPr>
          <p:cNvCxnSpPr>
            <a:cxnSpLocks/>
          </p:cNvCxnSpPr>
          <p:nvPr/>
        </p:nvCxnSpPr>
        <p:spPr>
          <a:xfrm flipH="1">
            <a:off x="4773661" y="5161678"/>
            <a:ext cx="974676" cy="1"/>
          </a:xfrm>
          <a:prstGeom prst="straightConnector1">
            <a:avLst/>
          </a:prstGeom>
          <a:ln w="38100">
            <a:solidFill>
              <a:srgbClr val="00B0F0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4848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5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TTP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elche Implementierung nutzt ihr?</a:t>
            </a:r>
          </a:p>
        </p:txBody>
      </p:sp>
      <p:pic>
        <p:nvPicPr>
          <p:cNvPr id="7" name="Grafik 6" descr="Fragen mit einfarbiger Füllung">
            <a:extLst>
              <a:ext uri="{FF2B5EF4-FFF2-40B4-BE49-F238E27FC236}">
                <a16:creationId xmlns:a16="http://schemas.microsoft.com/office/drawing/2014/main" id="{970EDB4A-71D0-4D14-8D7C-3E03C45F98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5955" y="1478315"/>
            <a:ext cx="2444044" cy="244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7933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hentifizier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09735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83E72D-6B05-443F-89A3-75655896D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hentifiz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56846A-016A-41DB-B7E5-DCE0DFC3ED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liminierung der Basic-Authentifizierung</a:t>
            </a:r>
          </a:p>
          <a:p>
            <a:r>
              <a:rPr lang="de-DE" dirty="0"/>
              <a:t>Föderierte Authentifizierung mit AD FS</a:t>
            </a:r>
          </a:p>
          <a:p>
            <a:r>
              <a:rPr lang="de-DE" dirty="0"/>
              <a:t>Hybrid Modern Authentication</a:t>
            </a:r>
          </a:p>
          <a:p>
            <a:pPr lvl="1"/>
            <a:r>
              <a:rPr lang="de-DE" dirty="0"/>
              <a:t>Erfordert Exchange Hybrid</a:t>
            </a:r>
          </a:p>
          <a:p>
            <a:pPr lvl="1"/>
            <a:r>
              <a:rPr lang="de-DE" dirty="0"/>
              <a:t>Bietet Azure MFA und Conditional Access</a:t>
            </a:r>
          </a:p>
          <a:p>
            <a:r>
              <a:rPr lang="de-DE" dirty="0"/>
              <a:t>Multi-Faktor-Authentifizierung</a:t>
            </a:r>
          </a:p>
          <a:p>
            <a:r>
              <a:rPr lang="de-DE" dirty="0"/>
              <a:t>Zertifikats-basierte Authentifizierung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A954E92-F888-4E8E-9F0F-9032D2E2C5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4226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hentifizier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elche Implementierung nutzt ihr?</a:t>
            </a:r>
          </a:p>
        </p:txBody>
      </p:sp>
      <p:pic>
        <p:nvPicPr>
          <p:cNvPr id="3" name="Grafik 2" descr="Fragen mit einfarbiger Füllung">
            <a:extLst>
              <a:ext uri="{FF2B5EF4-FFF2-40B4-BE49-F238E27FC236}">
                <a16:creationId xmlns:a16="http://schemas.microsoft.com/office/drawing/2014/main" id="{A88C536D-F7EA-4460-ADE5-9033F4ECF8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5955" y="1478315"/>
            <a:ext cx="2444044" cy="244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4212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C2EAB1-D79F-408B-904A-4B058248D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DB7E3-AB92-4D88-9F70-9ED0A7D03F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0427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FE4617-272C-4ADB-A104-17BEF13DE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57753-D74F-4F38-BD66-C620F82E54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Exchange Server 2016 + 2019 Maul Flow </a:t>
            </a:r>
            <a:r>
              <a:rPr lang="de-DE" dirty="0" err="1">
                <a:hlinkClick r:id="rId2"/>
              </a:rPr>
              <a:t>With</a:t>
            </a:r>
            <a:r>
              <a:rPr lang="de-DE" dirty="0">
                <a:hlinkClick r:id="rId2"/>
              </a:rPr>
              <a:t> Ports</a:t>
            </a:r>
            <a:endParaRPr lang="de-DE" dirty="0"/>
          </a:p>
          <a:p>
            <a:r>
              <a:rPr lang="en-US" dirty="0">
                <a:hlinkClick r:id="rId3"/>
              </a:rPr>
              <a:t>Service Name and Transport Protocol Port Number Registry</a:t>
            </a:r>
            <a:endParaRPr lang="en-US" dirty="0"/>
          </a:p>
          <a:p>
            <a:r>
              <a:rPr lang="en-US" dirty="0">
                <a:hlinkClick r:id="rId4"/>
              </a:rPr>
              <a:t>Remote access to on-premises applications through Azure AD Application Proxy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ybrid modern authentication overview and prerequisites for using it with on-premises Skype for Business and Exchange servers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09B823-461F-468C-9F09-4B59251FE1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71078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Hunting Basic Authentication</a:t>
            </a:r>
            <a:br>
              <a:rPr lang="de-DE" dirty="0"/>
            </a:br>
            <a:r>
              <a:rPr lang="de-DE" dirty="0"/>
              <a:t> in Exchange Online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dres Bohren</a:t>
            </a:r>
          </a:p>
        </p:txBody>
      </p:sp>
    </p:spTree>
    <p:extLst>
      <p:ext uri="{BB962C8B-B14F-4D97-AF65-F5344CB8AC3E}">
        <p14:creationId xmlns:p14="http://schemas.microsoft.com/office/powerpoint/2010/main" val="1336539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 – </a:t>
            </a:r>
            <a:br>
              <a:rPr lang="de-DE" dirty="0"/>
            </a:br>
            <a:r>
              <a:rPr lang="de-DE" dirty="0"/>
              <a:t>Komponenten für den </a:t>
            </a:r>
            <a:br>
              <a:rPr lang="de-DE" dirty="0"/>
            </a:br>
            <a:r>
              <a:rPr lang="de-DE" dirty="0"/>
              <a:t>sicheren Zugriff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Nächster Termin: 4. November 2021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Homepage: 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Twitter: @exusg #exus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7788" y="2175011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User Group Team</a:t>
            </a:r>
          </a:p>
          <a:p>
            <a:pPr lvl="1"/>
            <a:r>
              <a:rPr lang="de-DE" dirty="0"/>
              <a:t>Im Microsoft Community Tenant</a:t>
            </a:r>
          </a:p>
          <a:p>
            <a:endParaRPr lang="de-DE" dirty="0"/>
          </a:p>
          <a:p>
            <a:r>
              <a:rPr lang="de-DE" dirty="0"/>
              <a:t>Community Sticker</a:t>
            </a:r>
          </a:p>
          <a:p>
            <a:pPr lvl="1"/>
            <a:r>
              <a:rPr lang="de-DE" dirty="0">
                <a:solidFill>
                  <a:srgbClr val="37A5D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dirty="0">
                <a:solidFill>
                  <a:srgbClr val="37A5DD"/>
                </a:solidFill>
              </a:rPr>
              <a:t> </a:t>
            </a:r>
          </a:p>
          <a:p>
            <a:pPr lvl="1"/>
            <a:r>
              <a:rPr lang="de-DE" dirty="0"/>
              <a:t>EXUSG-Logo Sticker in Kürze verfügbar</a:t>
            </a:r>
            <a:br>
              <a:rPr lang="de-DE" dirty="0"/>
            </a:br>
            <a:endParaRPr lang="de-DE" dirty="0"/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ticker-Contest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Floskeln und Texte per DM an @exusg</a:t>
            </a: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8473161" y="1880566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8118803" y="4026387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Regional Lead | MCSM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kern="0" dirty="0">
                <a:solidFill>
                  <a:srgbClr val="37A5D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omas.stensitzki@granikos.eu</a:t>
            </a:r>
            <a:r>
              <a:rPr lang="de-DE" sz="2000" kern="0" dirty="0">
                <a:solidFill>
                  <a:srgbClr val="37A5DD"/>
                </a:solidFill>
              </a:rPr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610" y="1589441"/>
            <a:ext cx="1726913" cy="696744"/>
          </a:xfrm>
          <a:prstGeom prst="rect">
            <a:avLst/>
          </a:prstGeom>
        </p:spPr>
      </p:pic>
      <p:pic>
        <p:nvPicPr>
          <p:cNvPr id="5" name="Grafik 4">
            <a:hlinkClick r:id="rId5"/>
            <a:extLst>
              <a:ext uri="{FF2B5EF4-FFF2-40B4-BE49-F238E27FC236}">
                <a16:creationId xmlns:a16="http://schemas.microsoft.com/office/drawing/2014/main" id="{D7A85379-0537-405A-8F96-DB1B8BC3EE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691" y="2846679"/>
            <a:ext cx="2722940" cy="34660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Ein Bild, das Screenshot, Text enthält.&#10;&#10;Automatisch generierte Beschreibung">
            <a:hlinkClick r:id="rId7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5698" y="2846679"/>
            <a:ext cx="2440993" cy="346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Protokol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TP</a:t>
            </a:r>
          </a:p>
          <a:p>
            <a:pPr lvl="1"/>
            <a:r>
              <a:rPr lang="de-DE" dirty="0"/>
              <a:t>Server-zu-Server (MTA) Kommunikation 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TCP 25, STARTTLS initiiert den Aufbau einer verschlüsselten TLS-Verbindung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TCP 465, TLS-abgesicherte SMTP-Verbindung, nicht mehr RFC-</a:t>
            </a:r>
            <a:r>
              <a:rPr lang="de-DE" dirty="0" err="1">
                <a:sym typeface="Wingdings" panose="05000000000000000000" pitchFamily="2" charset="2"/>
              </a:rPr>
              <a:t>compliant</a:t>
            </a:r>
            <a:endParaRPr lang="de-DE" dirty="0">
              <a:sym typeface="Wingdings" panose="05000000000000000000" pitchFamily="2" charset="2"/>
            </a:endParaRPr>
          </a:p>
          <a:p>
            <a:pPr lvl="3"/>
            <a:r>
              <a:rPr lang="de-DE" dirty="0">
                <a:sym typeface="Wingdings" panose="05000000000000000000" pitchFamily="2" charset="2"/>
              </a:rPr>
              <a:t>Nutzung von Exchange Server zur Frontend-Backend-Kommunikation für TCP 587 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(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)</a:t>
            </a:r>
          </a:p>
          <a:p>
            <a:pPr marL="541338" lvl="2" indent="0">
              <a:buNone/>
            </a:pPr>
            <a:r>
              <a:rPr lang="de-DE" sz="2000" dirty="0">
                <a:solidFill>
                  <a:schemeClr val="accent1"/>
                </a:solidFill>
                <a:sym typeface="Wingdings" panose="05000000000000000000" pitchFamily="2" charset="2"/>
              </a:rPr>
              <a:t>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IANAPorts</a:t>
            </a:r>
            <a:r>
              <a:rPr lang="de-DE" sz="160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endParaRPr lang="de-DE" sz="1600" dirty="0">
              <a:solidFill>
                <a:schemeClr val="tx1">
                  <a:lumMod val="50000"/>
                </a:schemeClr>
              </a:solidFill>
            </a:endParaRPr>
          </a:p>
          <a:p>
            <a:pPr marL="541338" lvl="2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lvl="1"/>
            <a:r>
              <a:rPr lang="de-DE" dirty="0">
                <a:sym typeface="Wingdings" panose="05000000000000000000" pitchFamily="2" charset="2"/>
              </a:rPr>
              <a:t>Client-zu-Server Kommunikation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TCP 465, TLS-abgesicherte SMTP-Verbindung, nicht mehr RFC-</a:t>
            </a:r>
            <a:r>
              <a:rPr lang="de-DE" dirty="0" err="1">
                <a:sym typeface="Wingdings" panose="05000000000000000000" pitchFamily="2" charset="2"/>
              </a:rPr>
              <a:t>compliant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TCP 587, TLS-abgesicherte SMTP-Verbindung mit Authentifizierung</a:t>
            </a:r>
          </a:p>
          <a:p>
            <a:pPr lvl="2"/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-Mail-Versand</a:t>
            </a:r>
          </a:p>
        </p:txBody>
      </p:sp>
    </p:spTree>
    <p:extLst>
      <p:ext uri="{BB962C8B-B14F-4D97-AF65-F5344CB8AC3E}">
        <p14:creationId xmlns:p14="http://schemas.microsoft.com/office/powerpoint/2010/main" val="1729807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Protokol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TTP/S</a:t>
            </a:r>
          </a:p>
          <a:p>
            <a:pPr lvl="1"/>
            <a:r>
              <a:rPr lang="de-DE" dirty="0"/>
              <a:t>Server-zu-Server, Client-zu-Server</a:t>
            </a:r>
          </a:p>
          <a:p>
            <a:pPr lvl="2"/>
            <a:r>
              <a:rPr lang="de-DE" dirty="0"/>
              <a:t>TCP 80, unverschlüsselt</a:t>
            </a:r>
          </a:p>
          <a:p>
            <a:pPr lvl="2"/>
            <a:r>
              <a:rPr lang="de-DE" dirty="0"/>
              <a:t>TCP 443, TLS-verschlüsselt</a:t>
            </a:r>
          </a:p>
          <a:p>
            <a:r>
              <a:rPr lang="de-DE" dirty="0"/>
              <a:t>POP3</a:t>
            </a:r>
          </a:p>
          <a:p>
            <a:pPr lvl="1"/>
            <a:r>
              <a:rPr lang="de-DE" dirty="0"/>
              <a:t>Client-zu-Server</a:t>
            </a:r>
          </a:p>
          <a:p>
            <a:pPr lvl="2"/>
            <a:r>
              <a:rPr lang="de-DE" dirty="0"/>
              <a:t>TCP 110, unverschlüsselt</a:t>
            </a:r>
          </a:p>
          <a:p>
            <a:pPr lvl="2"/>
            <a:r>
              <a:rPr lang="de-DE" dirty="0"/>
              <a:t>TCP 995, TLS-verschlüsselt</a:t>
            </a:r>
          </a:p>
          <a:p>
            <a:r>
              <a:rPr lang="de-DE" dirty="0"/>
              <a:t>IMAP4</a:t>
            </a:r>
          </a:p>
          <a:p>
            <a:pPr lvl="1"/>
            <a:r>
              <a:rPr lang="de-DE" dirty="0"/>
              <a:t>Client-zu-Server</a:t>
            </a:r>
          </a:p>
          <a:p>
            <a:pPr lvl="2"/>
            <a:r>
              <a:rPr lang="de-DE" dirty="0"/>
              <a:t>TCP 143, unverschlüsselt</a:t>
            </a:r>
          </a:p>
          <a:p>
            <a:pPr lvl="2"/>
            <a:r>
              <a:rPr lang="de-DE" dirty="0"/>
              <a:t>TCP 993, TLS-verschlüsselt</a:t>
            </a:r>
          </a:p>
          <a:p>
            <a:pPr lvl="2"/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ach- und Serverzugriff </a:t>
            </a:r>
          </a:p>
        </p:txBody>
      </p:sp>
    </p:spTree>
    <p:extLst>
      <p:ext uri="{BB962C8B-B14F-4D97-AF65-F5344CB8AC3E}">
        <p14:creationId xmlns:p14="http://schemas.microsoft.com/office/powerpoint/2010/main" val="1538979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Protokol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TTPS</a:t>
            </a:r>
          </a:p>
          <a:p>
            <a:pPr lvl="1"/>
            <a:r>
              <a:rPr lang="de-DE" dirty="0"/>
              <a:t>AutoDiscover</a:t>
            </a:r>
          </a:p>
          <a:p>
            <a:pPr lvl="1"/>
            <a:r>
              <a:rPr lang="de-DE" dirty="0"/>
              <a:t>MAPI</a:t>
            </a:r>
          </a:p>
          <a:p>
            <a:pPr lvl="1"/>
            <a:r>
              <a:rPr lang="de-DE" dirty="0"/>
              <a:t>Exchange Web Services (/EWS)</a:t>
            </a:r>
          </a:p>
          <a:p>
            <a:pPr lvl="1"/>
            <a:r>
              <a:rPr lang="de-DE" dirty="0"/>
              <a:t>ActiveSync (/Microsoft-Server-ActiveSync)</a:t>
            </a:r>
          </a:p>
          <a:p>
            <a:pPr lvl="1"/>
            <a:r>
              <a:rPr lang="de-DE" dirty="0"/>
              <a:t>Offline Adressbuch (/OAB)</a:t>
            </a:r>
          </a:p>
          <a:p>
            <a:pPr lvl="1"/>
            <a:r>
              <a:rPr lang="de-DE" dirty="0"/>
              <a:t>Outlook on the Web (/OWA)</a:t>
            </a:r>
          </a:p>
          <a:p>
            <a:pPr lvl="1"/>
            <a:r>
              <a:rPr lang="de-DE" dirty="0"/>
              <a:t>Admin Center (/ECP)</a:t>
            </a:r>
          </a:p>
          <a:p>
            <a:pPr lvl="1"/>
            <a:r>
              <a:rPr lang="de-DE" dirty="0"/>
              <a:t>REST (/API)</a:t>
            </a:r>
          </a:p>
          <a:p>
            <a:pPr lvl="1"/>
            <a:r>
              <a:rPr lang="de-DE" dirty="0"/>
              <a:t>PowerShell</a:t>
            </a:r>
          </a:p>
          <a:p>
            <a:pPr lvl="1"/>
            <a:r>
              <a:rPr lang="de-DE" dirty="0"/>
              <a:t>RPC </a:t>
            </a:r>
          </a:p>
          <a:p>
            <a:pPr lvl="2"/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HTTPS  </a:t>
            </a:r>
          </a:p>
        </p:txBody>
      </p:sp>
    </p:spTree>
    <p:extLst>
      <p:ext uri="{BB962C8B-B14F-4D97-AF65-F5344CB8AC3E}">
        <p14:creationId xmlns:p14="http://schemas.microsoft.com/office/powerpoint/2010/main" val="625306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526724-AC26-4B64-8CBD-388146F2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MT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D200D1-8891-428B-906E-405BAD75EB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xchange Server Protokolle</a:t>
            </a:r>
          </a:p>
        </p:txBody>
      </p:sp>
    </p:spTree>
    <p:extLst>
      <p:ext uri="{BB962C8B-B14F-4D97-AF65-F5344CB8AC3E}">
        <p14:creationId xmlns:p14="http://schemas.microsoft.com/office/powerpoint/2010/main" val="14800161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22D9F-1380-4C1E-8434-0387085F4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– Komponen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EE35D-1626-448C-9DFC-E60EE0F1A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A825AF9-6435-4CBF-892D-BEE95A84C652}"/>
              </a:ext>
            </a:extLst>
          </p:cNvPr>
          <p:cNvSpPr/>
          <p:nvPr/>
        </p:nvSpPr>
        <p:spPr>
          <a:xfrm>
            <a:off x="1552222" y="4481689"/>
            <a:ext cx="9087556" cy="1681333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de-DE" sz="1200" b="1" dirty="0"/>
              <a:t>Unternehmensnetzwerk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5ECB39B-83A4-4DBC-81DB-E87B26EF4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633" y="4920624"/>
            <a:ext cx="781050" cy="762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36C474F-E46E-4787-96B2-623B47FC3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8337" y="4162601"/>
            <a:ext cx="695325" cy="63817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C8FEF65-559E-48FB-BE64-7891D25A4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7537" y="4982536"/>
            <a:ext cx="663367" cy="63817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5D86050-DDFE-4239-86FD-0A7F3A3511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8629" y="4910002"/>
            <a:ext cx="438150" cy="762000"/>
          </a:xfrm>
          <a:prstGeom prst="rect">
            <a:avLst/>
          </a:prstGeom>
        </p:spPr>
      </p:pic>
      <p:pic>
        <p:nvPicPr>
          <p:cNvPr id="12" name="Grafik 11" descr="Cloud mit einfarbiger Füllung">
            <a:extLst>
              <a:ext uri="{FF2B5EF4-FFF2-40B4-BE49-F238E27FC236}">
                <a16:creationId xmlns:a16="http://schemas.microsoft.com/office/drawing/2014/main" id="{34EAC758-5F6C-4A13-B873-3040B41E3C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71657" y="872781"/>
            <a:ext cx="1778000" cy="1778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528CF2A-33A2-4A4E-AA1A-C21523257E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9155" y="1442693"/>
            <a:ext cx="663367" cy="63817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05A5D98-9D1F-40FA-996D-D9BAD752AE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1912" y="1361763"/>
            <a:ext cx="68580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623</Words>
  <Application>Microsoft Office PowerPoint</Application>
  <PresentationFormat>Breitbild</PresentationFormat>
  <Paragraphs>169</Paragraphs>
  <Slides>32</Slides>
  <Notes>11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7" baseType="lpstr">
      <vt:lpstr>Arial</vt:lpstr>
      <vt:lpstr>Calibri</vt:lpstr>
      <vt:lpstr>Segoe UI</vt:lpstr>
      <vt:lpstr>Wingdings</vt:lpstr>
      <vt:lpstr>Office</vt:lpstr>
      <vt:lpstr>Exchange User Group {Online Edition}</vt:lpstr>
      <vt:lpstr>Meetup Q3 2021</vt:lpstr>
      <vt:lpstr>Exchange Server –  Komponenten für den  sicheren Zugriff</vt:lpstr>
      <vt:lpstr>PowerPoint-Präsentation</vt:lpstr>
      <vt:lpstr>Exchange Server – Protokolle</vt:lpstr>
      <vt:lpstr>Exchange Server – Protokolle</vt:lpstr>
      <vt:lpstr>Exchange Server – Protokolle</vt:lpstr>
      <vt:lpstr>SMTP</vt:lpstr>
      <vt:lpstr>Exchange Server – Komponenten</vt:lpstr>
      <vt:lpstr>Exchange Server – Komponenten</vt:lpstr>
      <vt:lpstr>Exchange Server – Komponenten</vt:lpstr>
      <vt:lpstr>Exchange Server – Komponenten</vt:lpstr>
      <vt:lpstr>Exchange Server – Komponenten</vt:lpstr>
      <vt:lpstr>Exchange Server – Komponenten</vt:lpstr>
      <vt:lpstr>Exchange Server – Komponenten</vt:lpstr>
      <vt:lpstr>Exchange Server – Komponenten</vt:lpstr>
      <vt:lpstr>Cloud-Anbieter für Mail-Filterung</vt:lpstr>
      <vt:lpstr>SMTP</vt:lpstr>
      <vt:lpstr>HTTPS</vt:lpstr>
      <vt:lpstr>Exchange Server – Komponenten</vt:lpstr>
      <vt:lpstr>Exchange Server – Komponenten</vt:lpstr>
      <vt:lpstr>Exchange Server – Komponenten</vt:lpstr>
      <vt:lpstr>HTTPS</vt:lpstr>
      <vt:lpstr>Authentifizierung</vt:lpstr>
      <vt:lpstr>Authentifizierung</vt:lpstr>
      <vt:lpstr>Authentifizierung</vt:lpstr>
      <vt:lpstr>PowerPoint-Präsentation</vt:lpstr>
      <vt:lpstr>Ressourcen</vt:lpstr>
      <vt:lpstr>Hunting Basic Authentication  in Exchange Online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August 2021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1-08-19T17:12:59Z</dcterms:modified>
  <cp:contentStatus>Final</cp:contentStatus>
</cp:coreProperties>
</file>